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03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88" autoAdjust="0"/>
    <p:restoredTop sz="96357" autoAdjust="0"/>
  </p:normalViewPr>
  <p:slideViewPr>
    <p:cSldViewPr snapToGrid="0" snapToObjects="1">
      <p:cViewPr varScale="1">
        <p:scale>
          <a:sx n="110" d="100"/>
          <a:sy n="110" d="100"/>
        </p:scale>
        <p:origin x="864" y="96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9ABC8B71-E570-4490-86BF-BB5C1676EB24}"/>
    <pc:docChg chg="modSld">
      <pc:chgData name="Vasilis Karastergios" userId="2aa9c0a1-323b-48aa-83e0-abc8de3a69d0" providerId="ADAL" clId="{9ABC8B71-E570-4490-86BF-BB5C1676EB24}" dt="2024-02-13T11:28:15.786" v="0" actId="20577"/>
      <pc:docMkLst>
        <pc:docMk/>
      </pc:docMkLst>
      <pc:sldChg chg="modNotesTx">
        <pc:chgData name="Vasilis Karastergios" userId="2aa9c0a1-323b-48aa-83e0-abc8de3a69d0" providerId="ADAL" clId="{9ABC8B71-E570-4490-86BF-BB5C1676EB24}" dt="2024-02-13T11:28:15.786" v="0" actId="20577"/>
        <pc:sldMkLst>
          <pc:docMk/>
          <pc:sldMk cId="3270403626" sldId="30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229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PIPING AND CABLING DESIGN (PCX)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18580" y="1226296"/>
            <a:ext cx="10473263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ate and optimize </a:t>
            </a:r>
            <a:r>
              <a:rPr lang="en-GB" sz="2000" dirty="0"/>
              <a:t>routings for cost, manufacturability and service </a:t>
            </a:r>
            <a:endParaRPr lang="en-US" sz="20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7A5E956-A16F-4465-AED8-608CC66F1A55}"/>
              </a:ext>
            </a:extLst>
          </p:cNvPr>
          <p:cNvGrpSpPr/>
          <p:nvPr/>
        </p:nvGrpSpPr>
        <p:grpSpPr>
          <a:xfrm>
            <a:off x="7077377" y="1502988"/>
            <a:ext cx="4729277" cy="4867289"/>
            <a:chOff x="7420318" y="1628743"/>
            <a:chExt cx="4729277" cy="4867289"/>
          </a:xfrm>
        </p:grpSpPr>
        <p:pic>
          <p:nvPicPr>
            <p:cNvPr id="8" name="Picture 2" descr="D:\000 - CAD Sales Enablement\000 - FY16 CAD Core Plays\FY16 Direct Package Upgrade Play\images\hydraulic-system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4460" y="4281567"/>
              <a:ext cx="2901045" cy="2214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6" descr="D:\000 - CAD Sales Enablement\000 - FY16 CAD Core Plays\FY16 Direct Package Upgrade Play\images\System-Integration-1024x872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28761" y="1628743"/>
              <a:ext cx="2920834" cy="2487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D:\000 - CAD Sales Enablement\000 - FY16 CAD Core Plays\FY16 Direct Package Upgrade Play\images\What-is-a-Generator-8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0318" y="3206668"/>
              <a:ext cx="2172490" cy="1833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4BC616A6-A78F-4776-963A-9661CE33444C}"/>
              </a:ext>
            </a:extLst>
          </p:cNvPr>
          <p:cNvSpPr/>
          <p:nvPr/>
        </p:nvSpPr>
        <p:spPr>
          <a:xfrm>
            <a:off x="518580" y="1880877"/>
            <a:ext cx="1510147" cy="7766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527491-8CB5-45FE-8F8E-55640A1656AC}"/>
              </a:ext>
            </a:extLst>
          </p:cNvPr>
          <p:cNvSpPr/>
          <p:nvPr/>
        </p:nvSpPr>
        <p:spPr>
          <a:xfrm>
            <a:off x="2169434" y="1880877"/>
            <a:ext cx="5145761" cy="776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Any customer that requires integral 3D routing capabilities to optimize manufacturing, cost and serviceabil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B88152-A4CA-4E56-81C9-C9389800D81D}"/>
              </a:ext>
            </a:extLst>
          </p:cNvPr>
          <p:cNvSpPr/>
          <p:nvPr/>
        </p:nvSpPr>
        <p:spPr>
          <a:xfrm>
            <a:off x="518580" y="2735441"/>
            <a:ext cx="1510147" cy="97316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92459B-9664-449F-852B-BEE0438AED5E}"/>
              </a:ext>
            </a:extLst>
          </p:cNvPr>
          <p:cNvSpPr/>
          <p:nvPr/>
        </p:nvSpPr>
        <p:spPr>
          <a:xfrm>
            <a:off x="2169437" y="2745601"/>
            <a:ext cx="4077033" cy="9731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ower lifecycle cost (optimize routings for service and manufacturability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FFB932-2914-4206-867C-525B228D889A}"/>
              </a:ext>
            </a:extLst>
          </p:cNvPr>
          <p:cNvSpPr/>
          <p:nvPr/>
        </p:nvSpPr>
        <p:spPr>
          <a:xfrm>
            <a:off x="518580" y="3795624"/>
            <a:ext cx="1510147" cy="83414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0F9DC9F-59F3-40D8-936C-3681E97BC537}"/>
              </a:ext>
            </a:extLst>
          </p:cNvPr>
          <p:cNvSpPr/>
          <p:nvPr/>
        </p:nvSpPr>
        <p:spPr>
          <a:xfrm>
            <a:off x="2169434" y="3795624"/>
            <a:ext cx="4817816" cy="8341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3D cable and pipe routing and optimization 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Verification and validation (2D schematic logic)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creation of manufacturing deliverabl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0EB6050-20F5-4140-A011-490E73005867}"/>
              </a:ext>
            </a:extLst>
          </p:cNvPr>
          <p:cNvSpPr/>
          <p:nvPr/>
        </p:nvSpPr>
        <p:spPr>
          <a:xfrm>
            <a:off x="518580" y="4705216"/>
            <a:ext cx="1510147" cy="1645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A3F2755-8907-4CF7-BB10-A0EFD0B12C6A}"/>
              </a:ext>
            </a:extLst>
          </p:cNvPr>
          <p:cNvSpPr/>
          <p:nvPr/>
        </p:nvSpPr>
        <p:spPr>
          <a:xfrm>
            <a:off x="2169435" y="4735696"/>
            <a:ext cx="4678399" cy="16004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routing referencing 2D Schematic logic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asily visualize and edit using drag handle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and on-the-fly editing 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bility to compare/validate 3D data against 2D schematic logic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creation of fully associative drawing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and manufacturing deliverabl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1ECB860-785E-4E27-8396-22671BA54677}"/>
              </a:ext>
            </a:extLst>
          </p:cNvPr>
          <p:cNvCxnSpPr>
            <a:cxnSpLocks/>
          </p:cNvCxnSpPr>
          <p:nvPr/>
        </p:nvCxnSpPr>
        <p:spPr>
          <a:xfrm>
            <a:off x="2125712" y="1880879"/>
            <a:ext cx="0" cy="77668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7DC94FE-2DD8-4326-83A8-2AAFDB8744E8}"/>
              </a:ext>
            </a:extLst>
          </p:cNvPr>
          <p:cNvCxnSpPr>
            <a:cxnSpLocks/>
          </p:cNvCxnSpPr>
          <p:nvPr/>
        </p:nvCxnSpPr>
        <p:spPr>
          <a:xfrm>
            <a:off x="2125712" y="2735438"/>
            <a:ext cx="0" cy="97316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652E3DA-6198-48A6-AF8C-2DAAE8F29814}"/>
              </a:ext>
            </a:extLst>
          </p:cNvPr>
          <p:cNvCxnSpPr>
            <a:cxnSpLocks/>
          </p:cNvCxnSpPr>
          <p:nvPr/>
        </p:nvCxnSpPr>
        <p:spPr>
          <a:xfrm>
            <a:off x="2125712" y="3795621"/>
            <a:ext cx="0" cy="83414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1879A8E-9ADF-470C-B35C-65BB0D917A4F}"/>
              </a:ext>
            </a:extLst>
          </p:cNvPr>
          <p:cNvCxnSpPr>
            <a:cxnSpLocks/>
          </p:cNvCxnSpPr>
          <p:nvPr/>
        </p:nvCxnSpPr>
        <p:spPr>
          <a:xfrm>
            <a:off x="2125712" y="4705214"/>
            <a:ext cx="0" cy="16459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403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8</TotalTime>
  <Words>121</Words>
  <Application>Microsoft Office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PTCRaleway</vt:lpstr>
      <vt:lpstr>Arial</vt:lpstr>
      <vt:lpstr>Wingdings</vt:lpstr>
      <vt:lpstr>MS PGothic</vt:lpstr>
      <vt:lpstr>Arial Narrow</vt:lpstr>
      <vt:lpstr>PTC PowerPoint Template</vt:lpstr>
      <vt:lpstr>think-cell Slide</vt:lpstr>
      <vt:lpstr>CREO PIPING AND CABLING DESIGN (PCX)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2</cp:revision>
  <dcterms:created xsi:type="dcterms:W3CDTF">2021-10-13T03:56:04Z</dcterms:created>
  <dcterms:modified xsi:type="dcterms:W3CDTF">2024-02-13T11:2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